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1"/>
  </p:notesMasterIdLst>
  <p:sldIdLst>
    <p:sldId id="492" r:id="rId2"/>
    <p:sldId id="493" r:id="rId3"/>
    <p:sldId id="495" r:id="rId4"/>
    <p:sldId id="487" r:id="rId5"/>
    <p:sldId id="485" r:id="rId6"/>
    <p:sldId id="496" r:id="rId7"/>
    <p:sldId id="490" r:id="rId8"/>
    <p:sldId id="281" r:id="rId9"/>
    <p:sldId id="494" r:id="rId10"/>
    <p:sldId id="282" r:id="rId11"/>
    <p:sldId id="447" r:id="rId12"/>
    <p:sldId id="316" r:id="rId13"/>
    <p:sldId id="324" r:id="rId14"/>
    <p:sldId id="393" r:id="rId15"/>
    <p:sldId id="339" r:id="rId16"/>
    <p:sldId id="423" r:id="rId17"/>
    <p:sldId id="433" r:id="rId18"/>
    <p:sldId id="435" r:id="rId19"/>
    <p:sldId id="437" r:id="rId20"/>
    <p:sldId id="438" r:id="rId21"/>
    <p:sldId id="440" r:id="rId22"/>
    <p:sldId id="441" r:id="rId23"/>
    <p:sldId id="442" r:id="rId24"/>
    <p:sldId id="443" r:id="rId25"/>
    <p:sldId id="448" r:id="rId26"/>
    <p:sldId id="343" r:id="rId27"/>
    <p:sldId id="461" r:id="rId28"/>
    <p:sldId id="449" r:id="rId29"/>
    <p:sldId id="427" r:id="rId30"/>
    <p:sldId id="428" r:id="rId31"/>
    <p:sldId id="467" r:id="rId32"/>
    <p:sldId id="418" r:id="rId33"/>
    <p:sldId id="465" r:id="rId34"/>
    <p:sldId id="468" r:id="rId35"/>
    <p:sldId id="470" r:id="rId36"/>
    <p:sldId id="469" r:id="rId37"/>
    <p:sldId id="475" r:id="rId38"/>
    <p:sldId id="471" r:id="rId39"/>
    <p:sldId id="477" r:id="rId40"/>
    <p:sldId id="478" r:id="rId41"/>
    <p:sldId id="479" r:id="rId42"/>
    <p:sldId id="480" r:id="rId43"/>
    <p:sldId id="481" r:id="rId44"/>
    <p:sldId id="430" r:id="rId45"/>
    <p:sldId id="328" r:id="rId46"/>
    <p:sldId id="432" r:id="rId47"/>
    <p:sldId id="426" r:id="rId48"/>
    <p:sldId id="444" r:id="rId49"/>
    <p:sldId id="484" r:id="rId50"/>
  </p:sldIdLst>
  <p:sldSz cx="12192000" cy="6858000"/>
  <p:notesSz cx="6858000" cy="9144000"/>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MOT PAPER" id="{FFC692BE-924D-4503-B90F-7F9BDE853506}">
          <p14:sldIdLst>
            <p14:sldId id="492"/>
            <p14:sldId id="493"/>
            <p14:sldId id="495"/>
            <p14:sldId id="487"/>
            <p14:sldId id="485"/>
            <p14:sldId id="496"/>
            <p14:sldId id="490"/>
          </p14:sldIdLst>
        </p14:sectio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0482" autoAdjust="0"/>
  </p:normalViewPr>
  <p:slideViewPr>
    <p:cSldViewPr snapToGrid="0">
      <p:cViewPr varScale="1">
        <p:scale>
          <a:sx n="162" d="100"/>
          <a:sy n="162" d="100"/>
        </p:scale>
        <p:origin x="612" y="90"/>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93.png"/><Relationship Id="rId5" Type="http://schemas.openxmlformats.org/officeDocument/2006/relationships/image" Target="../media/image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8.xml"/><Relationship Id="rId7" Type="http://schemas.openxmlformats.org/officeDocument/2006/relationships/image" Target="../media/image2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image" Target="../media/image27.png"/><Relationship Id="rId7" Type="http://schemas.openxmlformats.org/officeDocument/2006/relationships/image" Target="../media/image31.emf"/><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25.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5.png"/><Relationship Id="rId7"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1030.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1.xml"/><Relationship Id="rId7" Type="http://schemas.openxmlformats.org/officeDocument/2006/relationships/image" Target="../media/image81.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3.bin"/><Relationship Id="rId9" Type="http://schemas.openxmlformats.org/officeDocument/2006/relationships/image" Target="../media/image1050.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46.png"/><Relationship Id="rId7" Type="http://schemas.openxmlformats.org/officeDocument/2006/relationships/diagramQuickStyle" Target="../diagrams/quickStyle2.xml"/><Relationship Id="rId12"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36.png"/><Relationship Id="rId5" Type="http://schemas.openxmlformats.org/officeDocument/2006/relationships/diagramData" Target="../diagrams/data2.xml"/><Relationship Id="rId10" Type="http://schemas.openxmlformats.org/officeDocument/2006/relationships/image" Target="../media/image48.png"/><Relationship Id="rId4" Type="http://schemas.openxmlformats.org/officeDocument/2006/relationships/image" Target="../media/image47.png"/><Relationship Id="rId9" Type="http://schemas.microsoft.com/office/2007/relationships/diagramDrawing" Target="../diagrams/drawing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 Type="http://schemas.openxmlformats.org/officeDocument/2006/relationships/video" Target="../media/media2.mp4"/><Relationship Id="rId16" Type="http://schemas.openxmlformats.org/officeDocument/2006/relationships/image" Target="../media/image60.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svg"/><Relationship Id="rId19" Type="http://schemas.openxmlformats.org/officeDocument/2006/relationships/diagramLayout" Target="../diagrams/layout4.xml"/><Relationship Id="rId4" Type="http://schemas.openxmlformats.org/officeDocument/2006/relationships/notesSlide" Target="../notesSlides/notesSlide25.xml"/><Relationship Id="rId9" Type="http://schemas.openxmlformats.org/officeDocument/2006/relationships/image" Target="../media/image53.png"/><Relationship Id="rId14" Type="http://schemas.openxmlformats.org/officeDocument/2006/relationships/image" Target="../media/image58.svg"/><Relationship Id="rId22" Type="http://schemas.microsoft.com/office/2007/relationships/diagramDrawing" Target="../diagrams/drawing4.xml"/></Relationships>
</file>

<file path=ppt/slides/_rels/slide32.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63.png"/><Relationship Id="rId7" Type="http://schemas.openxmlformats.org/officeDocument/2006/relationships/image" Target="../media/image65.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64.emf"/><Relationship Id="rId10" Type="http://schemas.openxmlformats.org/officeDocument/2006/relationships/image" Target="../media/image67.png"/><Relationship Id="rId4" Type="http://schemas.openxmlformats.org/officeDocument/2006/relationships/package" Target="../embeddings/Microsoft_PowerPoint_Presentation.pptx"/><Relationship Id="rId9" Type="http://schemas.openxmlformats.org/officeDocument/2006/relationships/image" Target="../media/image6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2.png"/><Relationship Id="rId3" Type="http://schemas.openxmlformats.org/officeDocument/2006/relationships/oleObject" Target="../embeddings/oleObject4.bin"/><Relationship Id="rId7" Type="http://schemas.openxmlformats.org/officeDocument/2006/relationships/image" Target="../media/image11.png"/><Relationship Id="rId12" Type="http://schemas.openxmlformats.org/officeDocument/2006/relationships/image" Target="../media/image75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3.png"/><Relationship Id="rId3" Type="http://schemas.openxmlformats.org/officeDocument/2006/relationships/image" Target="../media/image71.png"/><Relationship Id="rId7" Type="http://schemas.openxmlformats.org/officeDocument/2006/relationships/image" Target="../media/image49.png"/><Relationship Id="rId12" Type="http://schemas.openxmlformats.org/officeDocument/2006/relationships/image" Target="../media/image52.svg"/><Relationship Id="rId2" Type="http://schemas.openxmlformats.org/officeDocument/2006/relationships/notesSlide" Target="../notesSlides/notesSlide37.xml"/><Relationship Id="rId16" Type="http://schemas.openxmlformats.org/officeDocument/2006/relationships/image" Target="../media/image60.svg"/><Relationship Id="rId1" Type="http://schemas.openxmlformats.org/officeDocument/2006/relationships/slideLayout" Target="../slideLayouts/slideLayout8.xml"/><Relationship Id="rId6" Type="http://schemas.openxmlformats.org/officeDocument/2006/relationships/image" Target="../media/image56.svg"/><Relationship Id="rId11" Type="http://schemas.openxmlformats.org/officeDocument/2006/relationships/image" Target="../media/image51.png"/><Relationship Id="rId5" Type="http://schemas.openxmlformats.org/officeDocument/2006/relationships/image" Target="../media/image55.png"/><Relationship Id="rId15" Type="http://schemas.openxmlformats.org/officeDocument/2006/relationships/image" Target="../media/image59.png"/><Relationship Id="rId10" Type="http://schemas.openxmlformats.org/officeDocument/2006/relationships/image" Target="../media/image58.svg"/><Relationship Id="rId4" Type="http://schemas.openxmlformats.org/officeDocument/2006/relationships/image" Target="../media/image72.svg"/><Relationship Id="rId9" Type="http://schemas.openxmlformats.org/officeDocument/2006/relationships/image" Target="../media/image57.png"/><Relationship Id="rId14" Type="http://schemas.openxmlformats.org/officeDocument/2006/relationships/image" Target="../media/image54.svg"/></Relationships>
</file>

<file path=ppt/slides/_rels/slide45.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1.xml"/><Relationship Id="rId1" Type="http://schemas.openxmlformats.org/officeDocument/2006/relationships/slideLayout" Target="../slideLayouts/slideLayout8.xml"/><Relationship Id="rId5" Type="http://schemas.openxmlformats.org/officeDocument/2006/relationships/image" Target="../media/image80.png"/><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5.bin"/><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6.xml"/><Relationship Id="rId11" Type="http://schemas.openxmlformats.org/officeDocument/2006/relationships/image" Target="../media/image890.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 Id="rId14" Type="http://schemas.openxmlformats.org/officeDocument/2006/relationships/image" Target="../media/image9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12" Type="http://schemas.openxmlformats.org/officeDocument/2006/relationships/image" Target="../media/image16.svg"/><Relationship Id="rId2" Type="http://schemas.openxmlformats.org/officeDocument/2006/relationships/slideLayout" Target="../slideLayouts/slideLayout8.xml"/><Relationship Id="rId1" Type="http://schemas.openxmlformats.org/officeDocument/2006/relationships/tags" Target="../tags/tag7.xml"/><Relationship Id="rId11"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10.png"/><Relationship Id="rId11" Type="http://schemas.openxmlformats.org/officeDocument/2006/relationships/image" Target="../media/image21.png"/><Relationship Id="rId5" Type="http://schemas.openxmlformats.org/officeDocument/2006/relationships/image" Target="../media/image62.png"/><Relationship Id="rId10" Type="http://schemas.openxmlformats.org/officeDocument/2006/relationships/image" Target="../media/image110.png"/><Relationship Id="rId4" Type="http://schemas.openxmlformats.org/officeDocument/2006/relationships/image" Target="../media/image3.jp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710.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mc:Choice xmlns:a14="http://schemas.microsoft.com/office/drawing/2010/main"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m:t>
                              </m:r>
                            </m:e>
                            <m:sub>
                              <m:r>
                                <a:rPr lang="de-DE" sz="1100" i="1" dirty="0">
                                  <a:latin typeface="Cambria Math" panose="02040503050406030204" pitchFamily="18" charset="0"/>
                                </a:rPr>
                                <m:t>𝑚𝑎𝑥</m:t>
                              </m:r>
                            </m:sub>
                          </m:sSub>
                        </m:oMath>
                      </a14:m>
                      <a:endParaRPr lang="de-DE" sz="1100" dirty="0"/>
                    </a:p>
                  </p:txBody>
                </p:sp>
              </mc:Choice>
              <mc:Fallback>
                <p:sp>
                  <p:nvSpPr>
                    <p:cNvPr id="12" name="Rechteck 11">
                      <a:extLst>
                        <a:ext uri="{FF2B5EF4-FFF2-40B4-BE49-F238E27FC236}">
                          <a16:creationId xmlns:a16="http://schemas.microsoft.com/office/drawing/2014/main" id="{1BE3AB88-CB6F-7694-EAFC-4B263D45932A}"/>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1111"/>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0</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1</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D0F085F5-0C17-805C-813F-158BE4DA7C22}"/>
              </a:ext>
            </a:extLst>
          </p:cNvPr>
          <p:cNvGrpSpPr/>
          <p:nvPr/>
        </p:nvGrpSpPr>
        <p:grpSpPr>
          <a:xfrm>
            <a:off x="1522483" y="516525"/>
            <a:ext cx="4033342" cy="5277067"/>
            <a:chOff x="5853855" y="270987"/>
            <a:chExt cx="4033342" cy="5277067"/>
          </a:xfrm>
        </p:grpSpPr>
        <p:grpSp>
          <p:nvGrpSpPr>
            <p:cNvPr id="9" name="Gruppieren 8">
              <a:extLst>
                <a:ext uri="{FF2B5EF4-FFF2-40B4-BE49-F238E27FC236}">
                  <a16:creationId xmlns:a16="http://schemas.microsoft.com/office/drawing/2014/main" id="{C0C19225-490A-98BF-3FDD-6454D5C99509}"/>
                </a:ext>
              </a:extLst>
            </p:cNvPr>
            <p:cNvGrpSpPr/>
            <p:nvPr/>
          </p:nvGrpSpPr>
          <p:grpSpPr>
            <a:xfrm>
              <a:off x="5853855" y="270987"/>
              <a:ext cx="4033342" cy="5277067"/>
              <a:chOff x="5334658" y="240437"/>
              <a:chExt cx="4033342" cy="527706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27706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70674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ep t</a:t>
                      </a:r>
                      <a:endParaRPr lang="en-US" sz="900" kern="1200" dirty="0">
                        <a:solidFill>
                          <a:schemeClr val="tx1"/>
                        </a:solidFill>
                        <a:latin typeface="Daimler CS" pitchFamily="2" charset="0"/>
                      </a:endParaRPr>
                    </a:p>
                  </p:txBody>
                </p:sp>
              </mc:Choice>
              <mc:Fallback xmlns="">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58849"/>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4809775"/>
                <a:ext cx="4033339" cy="7077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 – sensor object association </a:t>
                </a:r>
                <a:r>
                  <a:rPr lang="en-US" sz="900" kern="1200" dirty="0">
                    <a:solidFill>
                      <a:schemeClr val="tx1"/>
                    </a:solidFill>
                    <a:latin typeface="Daimler CS" pitchFamily="2" charset="0"/>
                    <a:sym typeface="Wingdings" panose="05000000000000000000" pitchFamily="2" charset="2"/>
                  </a:rPr>
                  <a:t> 288</a:t>
                </a:r>
                <a:endParaRPr lang="en-US" sz="900" kern="1200" dirty="0">
                  <a:solidFill>
                    <a:schemeClr val="tx1"/>
                  </a:solidFill>
                  <a:latin typeface="Daimler CS" pitchFamily="2" charset="0"/>
                </a:endParaRP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nvGrpSpPr>
              <p:cNvPr id="7" name="Gruppieren 6">
                <a:extLst>
                  <a:ext uri="{FF2B5EF4-FFF2-40B4-BE49-F238E27FC236}">
                    <a16:creationId xmlns:a16="http://schemas.microsoft.com/office/drawing/2014/main" id="{008C5174-0B15-9766-8C09-E24CAE70EC86}"/>
                  </a:ext>
                </a:extLst>
              </p:cNvPr>
              <p:cNvGrpSpPr/>
              <p:nvPr/>
            </p:nvGrpSpPr>
            <p:grpSpPr>
              <a:xfrm>
                <a:off x="7166464" y="1894922"/>
                <a:ext cx="1478882" cy="998688"/>
                <a:chOff x="7166464" y="1894922"/>
                <a:chExt cx="1478882" cy="998688"/>
              </a:xfrm>
            </p:grpSpPr>
            <p:sp>
              <p:nvSpPr>
                <p:cNvPr id="3" name="Rectangle 21">
                  <a:extLst>
                    <a:ext uri="{FF2B5EF4-FFF2-40B4-BE49-F238E27FC236}">
                      <a16:creationId xmlns:a16="http://schemas.microsoft.com/office/drawing/2014/main" id="{1B1D4817-0F8B-F72B-B0ED-884E83D6A11C}"/>
                    </a:ext>
                  </a:extLst>
                </p:cNvPr>
                <p:cNvSpPr/>
                <p:nvPr/>
              </p:nvSpPr>
              <p:spPr>
                <a:xfrm>
                  <a:off x="7166464" y="1894922"/>
                  <a:ext cx="1315875"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a:t>
                  </a:r>
                </a:p>
              </p:txBody>
            </p:sp>
            <p:sp>
              <p:nvSpPr>
                <p:cNvPr id="5" name="Rectangle 21">
                  <a:extLst>
                    <a:ext uri="{FF2B5EF4-FFF2-40B4-BE49-F238E27FC236}">
                      <a16:creationId xmlns:a16="http://schemas.microsoft.com/office/drawing/2014/main" id="{B397096F-144E-8BB1-90AF-BECD83CEBD28}"/>
                    </a:ext>
                  </a:extLst>
                </p:cNvPr>
                <p:cNvSpPr/>
                <p:nvPr/>
              </p:nvSpPr>
              <p:spPr>
                <a:xfrm>
                  <a:off x="7170906" y="2541432"/>
                  <a:ext cx="1474440" cy="35217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endParaRPr lang="en-US" sz="800" kern="1200" dirty="0">
                    <a:solidFill>
                      <a:schemeClr val="tx1"/>
                    </a:solidFill>
                    <a:latin typeface="Daimler CS" pitchFamily="2" charset="0"/>
                  </a:endParaRPr>
                </a:p>
              </p:txBody>
            </p:sp>
            <p:sp>
              <p:nvSpPr>
                <p:cNvPr id="6" name="Rectangle 21">
                  <a:extLst>
                    <a:ext uri="{FF2B5EF4-FFF2-40B4-BE49-F238E27FC236}">
                      <a16:creationId xmlns:a16="http://schemas.microsoft.com/office/drawing/2014/main" id="{DC121C3C-2D66-653C-8D87-5FFB77680A5C}"/>
                    </a:ext>
                  </a:extLst>
                </p:cNvPr>
                <p:cNvSpPr/>
                <p:nvPr/>
              </p:nvSpPr>
              <p:spPr>
                <a:xfrm>
                  <a:off x="7170908" y="2317783"/>
                  <a:ext cx="1311431"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grpSp>
        </p:grpSp>
        <p:sp>
          <p:nvSpPr>
            <p:cNvPr id="12" name="Rectangle 21">
              <a:extLst>
                <a:ext uri="{FF2B5EF4-FFF2-40B4-BE49-F238E27FC236}">
                  <a16:creationId xmlns:a16="http://schemas.microsoft.com/office/drawing/2014/main" id="{2D4AA489-7782-DC3A-82DE-FEF849693206}"/>
                </a:ext>
              </a:extLst>
            </p:cNvPr>
            <p:cNvSpPr/>
            <p:nvPr/>
          </p:nvSpPr>
          <p:spPr>
            <a:xfrm>
              <a:off x="7683379" y="2862165"/>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3" name="Rectangle 21">
              <a:extLst>
                <a:ext uri="{FF2B5EF4-FFF2-40B4-BE49-F238E27FC236}">
                  <a16:creationId xmlns:a16="http://schemas.microsoft.com/office/drawing/2014/main" id="{C5BDAAB1-4013-4308-AC12-CCE766C84D52}"/>
                </a:ext>
              </a:extLst>
            </p:cNvPr>
            <p:cNvSpPr/>
            <p:nvPr/>
          </p:nvSpPr>
          <p:spPr>
            <a:xfrm>
              <a:off x="7700700" y="4492337"/>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layer</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5</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8</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spTree>
    <p:extLst>
      <p:ext uri="{BB962C8B-B14F-4D97-AF65-F5344CB8AC3E}">
        <p14:creationId xmlns:p14="http://schemas.microsoft.com/office/powerpoint/2010/main" val="1585184165"/>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4</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2782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747381" y="365939"/>
            <a:ext cx="5044419" cy="5637311"/>
            <a:chOff x="2690231" y="196849"/>
            <a:chExt cx="5044419" cy="5637311"/>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96849"/>
              <a:ext cx="5044419" cy="5637311"/>
              <a:chOff x="2690231" y="196849"/>
              <a:chExt cx="5044419" cy="5637311"/>
            </a:xfrm>
          </p:grpSpPr>
          <p:sp>
            <p:nvSpPr>
              <p:cNvPr id="22" name="Rectangle 34">
                <a:extLst>
                  <a:ext uri="{FF2B5EF4-FFF2-40B4-BE49-F238E27FC236}">
                    <a16:creationId xmlns:a16="http://schemas.microsoft.com/office/drawing/2014/main" id="{BCC3C5A0-7C53-53ED-C307-DC03F5BA7D39}"/>
                  </a:ext>
                </a:extLst>
              </p:cNvPr>
              <p:cNvSpPr/>
              <p:nvPr/>
            </p:nvSpPr>
            <p:spPr>
              <a:xfrm>
                <a:off x="2722596" y="196850"/>
                <a:ext cx="5012054" cy="563731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49"/>
                <a:ext cx="4747775" cy="5637311"/>
                <a:chOff x="2690231" y="196849"/>
                <a:chExt cx="4747775" cy="5637311"/>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49"/>
                  <a:ext cx="4747775" cy="5637311"/>
                  <a:chOff x="2690231" y="196849"/>
                  <a:chExt cx="4747775" cy="5637311"/>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49"/>
                    <a:ext cx="4747775" cy="5637311"/>
                    <a:chOff x="2690231" y="196849"/>
                    <a:chExt cx="4747775" cy="5637311"/>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49"/>
                      <a:ext cx="4747775" cy="5637311"/>
                      <a:chOff x="2690231" y="196849"/>
                      <a:chExt cx="4747775" cy="5637311"/>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49"/>
                        <a:ext cx="4747775" cy="5637311"/>
                        <a:chOff x="4445879" y="-158353"/>
                        <a:chExt cx="4747775" cy="5637311"/>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3"/>
                          <a:ext cx="4747775" cy="5637311"/>
                          <a:chOff x="4445879" y="-158353"/>
                          <a:chExt cx="4747775" cy="5637311"/>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3"/>
                            <a:ext cx="4747775" cy="5637311"/>
                            <a:chOff x="4618443" y="-5197"/>
                            <a:chExt cx="4747775" cy="5637311"/>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7"/>
                              <a:ext cx="3980214" cy="4026613"/>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747775" cy="5605221"/>
                              <a:chOff x="4618443" y="26893"/>
                              <a:chExt cx="4747775" cy="5605221"/>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747775" cy="5605221"/>
                                <a:chOff x="4618443" y="26893"/>
                                <a:chExt cx="4747775" cy="5605221"/>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747775" cy="5605221"/>
                                  <a:chOff x="4618443" y="26893"/>
                                  <a:chExt cx="4747775" cy="5605221"/>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747775" cy="5605221"/>
                                    <a:chOff x="3729626" y="597024"/>
                                    <a:chExt cx="4747775" cy="5605221"/>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747775" cy="5605221"/>
                                      <a:chOff x="4675145" y="777136"/>
                                      <a:chExt cx="4747775" cy="5605221"/>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5183912" y="2659787"/>
                                        <a:ext cx="4239008" cy="3722570"/>
                                        <a:chOff x="3293621" y="2703757"/>
                                        <a:chExt cx="4239008" cy="3722570"/>
                                      </a:xfrm>
                                    </p:grpSpPr>
                                    <mc:AlternateContent xmlns:mc="http://schemas.openxmlformats.org/markup-compatibility/2006">
                                      <mc:Choice xmlns:a14="http://schemas.microsoft.com/office/drawing/2010/main" Requires="a14">
                                        <p:sp>
                                          <p:nvSpPr>
                                            <p:cNvPr id="173" name="Textfeld 172">
                                              <a:extLst>
                                                <a:ext uri="{FF2B5EF4-FFF2-40B4-BE49-F238E27FC236}">
                                                  <a16:creationId xmlns:a16="http://schemas.microsoft.com/office/drawing/2014/main" id="{7DAC3F07-EE5F-5828-472B-38EF64910B6F}"/>
                                                </a:ext>
                                              </a:extLst>
                                            </p:cNvPr>
                                            <p:cNvSpPr txBox="1"/>
                                            <p:nvPr/>
                                          </p:nvSpPr>
                                          <p:spPr>
                                            <a:xfrm>
                                              <a:off x="3293621" y="4815630"/>
                                              <a:ext cx="3980214" cy="1610697"/>
                                            </a:xfrm>
                                            <a:prstGeom prst="rect">
                                              <a:avLst/>
                                            </a:prstGeom>
                                            <a:solidFill>
                                              <a:schemeClr val="bg1"/>
                                            </a:solidFill>
                                            <a:ln w="6350">
                                              <a:solidFill>
                                                <a:schemeClr val="tx1"/>
                                              </a:solidFill>
                                            </a:ln>
                                          </p:spPr>
                                          <p:txBody>
                                            <a:bodyPr wrap="square" rtlCol="0">
                                              <a:spAutoFit/>
                                            </a:bodyPr>
                                            <a:lstStyle/>
                                            <a:p>
                                              <a14:m>
                                                <m:oMath xmlns:m="http://schemas.openxmlformats.org/officeDocument/2006/math">
                                                  <m:sSub>
                                                    <m:sSubPr>
                                                      <m:ctrlPr>
                                                        <a:rPr lang="de-DE" sz="1200" i="1" smtClean="0">
                                                          <a:latin typeface="Cambria Math" panose="02040503050406030204" pitchFamily="18" charset="0"/>
                                                        </a:rPr>
                                                      </m:ctrlPr>
                                                    </m:sSubPr>
                                                    <m:e>
                                                      <m:r>
                                                        <m:rPr>
                                                          <m:sty m:val="p"/>
                                                        </m:rPr>
                                                        <a:rPr lang="de-DE" sz="1200" b="0" i="0" smtClean="0">
                                                          <a:latin typeface="Cambria Math" panose="02040503050406030204" pitchFamily="18" charset="0"/>
                                                        </a:rPr>
                                                        <m:t>Z</m:t>
                                                      </m:r>
                                                    </m:e>
                                                    <m:sub>
                                                      <m:r>
                                                        <m:rPr>
                                                          <m:sty m:val="p"/>
                                                        </m:rPr>
                                                        <a:rPr lang="de-DE" sz="1200" b="0" i="0" smtClean="0">
                                                          <a:latin typeface="Cambria Math" panose="02040503050406030204" pitchFamily="18" charset="0"/>
                                                        </a:rPr>
                                                        <m:t>t</m:t>
                                                      </m:r>
                                                      <m:r>
                                                        <a:rPr lang="de-DE" sz="1200">
                                                          <a:latin typeface="Cambria Math" panose="02040503050406030204" pitchFamily="18" charset="0"/>
                                                        </a:rPr>
                                                        <m:t>,1:</m:t>
                                                      </m:r>
                                                      <m:r>
                                                        <a:rPr lang="de-DE" sz="1200">
                                                          <a:latin typeface="Cambria Math" panose="02040503050406030204" pitchFamily="18" charset="0"/>
                                                        </a:rPr>
                                                        <m:t>𝑚</m:t>
                                                      </m:r>
                                                    </m:sub>
                                                  </m:sSub>
                                                </m:oMath>
                                              </a14:m>
                                              <a:r>
                                                <a:rPr lang="de-DE" sz="1200" b="0" dirty="0"/>
                                                <a:t>	</a:t>
                                              </a:r>
                                              <a:r>
                                                <a:rPr lang="de-DE" sz="1200" dirty="0"/>
                                                <a:t> </a:t>
                                              </a:r>
                                              <a14:m>
                                                <m:oMath xmlns:m="http://schemas.openxmlformats.org/officeDocument/2006/math">
                                                  <m:r>
                                                    <a:rPr lang="de-DE" sz="1200" i="1">
                                                      <a:latin typeface="Cambria Math" panose="02040503050406030204" pitchFamily="18" charset="0"/>
                                                    </a:rPr>
                                                    <m:t>−</m:t>
                                                  </m:r>
                                                  <m:r>
                                                    <a:rPr lang="de-DE" sz="1200" b="0" i="1" smtClean="0">
                                                      <a:latin typeface="Cambria Math" panose="02040503050406030204" pitchFamily="18" charset="0"/>
                                                    </a:rPr>
                                                    <m:t> </m:t>
                                                  </m:r>
                                                  <m:r>
                                                    <a:rPr lang="de-DE" sz="1200" i="1">
                                                      <a:latin typeface="Cambria Math" panose="02040503050406030204" pitchFamily="18" charset="0"/>
                                                    </a:rPr>
                                                    <m:t>𝑆𝑒𝑛𝑠𝑜𝑟</m:t>
                                                  </m:r>
                                                  <m:r>
                                                    <a:rPr lang="de-DE" sz="1200" b="0" i="1" smtClean="0">
                                                      <a:latin typeface="Cambria Math" panose="02040503050406030204" pitchFamily="18" charset="0"/>
                                                    </a:rPr>
                                                    <m:t> </m:t>
                                                  </m:r>
                                                  <m:r>
                                                    <a:rPr lang="de-DE" sz="1200" i="1">
                                                      <a:latin typeface="Cambria Math" panose="02040503050406030204" pitchFamily="18" charset="0"/>
                                                    </a:rPr>
                                                    <m:t>𝑜𝑏𝑗𝑒𝑐𝑡𝑠</m:t>
                                                  </m:r>
                                                  <m:r>
                                                    <a:rPr lang="de-DE" sz="1200" i="1">
                                                      <a:latin typeface="Cambria Math" panose="02040503050406030204" pitchFamily="18" charset="0"/>
                                                    </a:rPr>
                                                    <m:t> 1:</m:t>
                                                  </m:r>
                                                  <m:r>
                                                    <a:rPr lang="de-DE" sz="1200" i="1">
                                                      <a:latin typeface="Cambria Math" panose="02040503050406030204" pitchFamily="18" charset="0"/>
                                                    </a:rPr>
                                                    <m:t>𝑚</m:t>
                                                  </m:r>
                                                  <m:r>
                                                    <a:rPr lang="de-DE" sz="1200" i="1">
                                                      <a:latin typeface="Cambria Math" panose="02040503050406030204" pitchFamily="18" charset="0"/>
                                                    </a:rPr>
                                                    <m:t> </m:t>
                                                  </m:r>
                                                  <m:r>
                                                    <a:rPr lang="de-DE" sz="1200" i="1">
                                                      <a:latin typeface="Cambria Math" panose="02040503050406030204" pitchFamily="18" charset="0"/>
                                                    </a:rPr>
                                                    <m:t>𝑎𝑡</m:t>
                                                  </m:r>
                                                  <m:r>
                                                    <a:rPr lang="de-DE" sz="1200" i="1">
                                                      <a:latin typeface="Cambria Math" panose="02040503050406030204" pitchFamily="18" charset="0"/>
                                                    </a:rPr>
                                                    <m:t> </m:t>
                                                  </m:r>
                                                  <m:r>
                                                    <a:rPr lang="de-DE" sz="1200" i="1">
                                                      <a:latin typeface="Cambria Math" panose="02040503050406030204" pitchFamily="18" charset="0"/>
                                                    </a:rPr>
                                                    <m:t>𝑡𝑖𝑚𝑒𝑠𝑡𝑒𝑝</m:t>
                                                  </m:r>
                                                  <m:r>
                                                    <a:rPr lang="de-DE" sz="1200" i="1">
                                                      <a:latin typeface="Cambria Math" panose="02040503050406030204" pitchFamily="18" charset="0"/>
                                                    </a:rPr>
                                                    <m:t> </m:t>
                                                  </m:r>
                                                  <m:r>
                                                    <a:rPr lang="de-DE" sz="1200" i="1">
                                                      <a:latin typeface="Cambria Math" panose="02040503050406030204" pitchFamily="18" charset="0"/>
                                                    </a:rPr>
                                                    <m:t>𝑡</m:t>
                                                  </m:r>
                                                </m:oMath>
                                              </a14:m>
                                              <a:endParaRPr lang="de-DE" sz="1200" b="0" dirty="0"/>
                                            </a:p>
                                            <a:p>
                                              <a14:m>
                                                <m:oMath xmlns:m="http://schemas.openxmlformats.org/officeDocument/2006/math">
                                                  <m:sSub>
                                                    <m:sSubPr>
                                                      <m:ctrlPr>
                                                        <a:rPr lang="de-DE" sz="1200" i="1" dirty="0" smtClean="0">
                                                          <a:latin typeface="Cambria Math" panose="02040503050406030204" pitchFamily="18" charset="0"/>
                                                        </a:rPr>
                                                      </m:ctrlPr>
                                                    </m:sSubPr>
                                                    <m:e>
                                                      <m:r>
                                                        <a:rPr lang="de-DE" sz="1200" i="1" dirty="0">
                                                          <a:latin typeface="Cambria Math" panose="02040503050406030204" pitchFamily="18" charset="0"/>
                                                        </a:rPr>
                                                        <m:t>𝑋</m:t>
                                                      </m:r>
                                                    </m:e>
                                                    <m:sub>
                                                      <m:r>
                                                        <a:rPr lang="de-DE" sz="1200" b="0" i="1" dirty="0" smtClean="0">
                                                          <a:latin typeface="Cambria Math" panose="02040503050406030204" pitchFamily="18" charset="0"/>
                                                        </a:rPr>
                                                        <m:t>𝑡</m:t>
                                                      </m:r>
                                                      <m:r>
                                                        <a:rPr lang="de-DE" sz="1200" i="1" dirty="0">
                                                          <a:latin typeface="Cambria Math" panose="02040503050406030204" pitchFamily="18" charset="0"/>
                                                        </a:rPr>
                                                        <m:t>,1:</m:t>
                                                      </m:r>
                                                      <m:r>
                                                        <a:rPr lang="de-DE" sz="1200" b="0" i="1" dirty="0" smtClean="0">
                                                          <a:latin typeface="Cambria Math" panose="02040503050406030204" pitchFamily="18" charset="0"/>
                                                        </a:rPr>
                                                        <m:t>𝑛</m:t>
                                                      </m:r>
                                                      <m:r>
                                                        <a:rPr lang="de-DE" sz="1200" b="0" i="1" dirty="0" smtClean="0">
                                                          <a:latin typeface="Cambria Math" panose="02040503050406030204" pitchFamily="18" charset="0"/>
                                                        </a:rPr>
                                                        <m:t> </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a:rPr lang="de-DE" sz="1200" i="1" dirty="0">
                                                      <a:latin typeface="Cambria Math" panose="02040503050406030204" pitchFamily="18" charset="0"/>
                                                    </a:rPr>
                                                    <m:t>𝑁𝑒𝑡𝑤𝑜𝑟𝑘</m:t>
                                                  </m:r>
                                                  <m:r>
                                                    <a:rPr lang="de-DE" sz="1200" i="1" dirty="0">
                                                      <a:latin typeface="Cambria Math" panose="02040503050406030204" pitchFamily="18" charset="0"/>
                                                    </a:rPr>
                                                    <m:t> </m:t>
                                                  </m:r>
                                                  <m:r>
                                                    <a:rPr lang="de-DE" sz="1200" b="0" i="1" dirty="0" smtClean="0">
                                                      <a:latin typeface="Cambria Math" panose="02040503050406030204" pitchFamily="18" charset="0"/>
                                                    </a:rPr>
                                                    <m:t>𝑝</m:t>
                                                  </m:r>
                                                  <m:r>
                                                    <a:rPr lang="de-DE" sz="1200" i="1" dirty="0">
                                                      <a:latin typeface="Cambria Math" panose="02040503050406030204" pitchFamily="18" charset="0"/>
                                                    </a:rPr>
                                                    <m:t>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14:m>
                                                <m:oMath xmlns:m="http://schemas.openxmlformats.org/officeDocument/2006/math">
                                                  <m:sSub>
                                                    <m:sSubPr>
                                                      <m:ctrlPr>
                                                        <a:rPr lang="de-DE" sz="1200" i="1" dirty="0" smtClean="0">
                                                          <a:latin typeface="Cambria Math" panose="02040503050406030204" pitchFamily="18" charset="0"/>
                                                        </a:rPr>
                                                      </m:ctrlPr>
                                                    </m:sSubPr>
                                                    <m:e>
                                                      <m:r>
                                                        <a:rPr lang="de-DE" sz="1200" b="0" i="1" dirty="0" smtClean="0">
                                                          <a:latin typeface="Cambria Math" panose="02040503050406030204" pitchFamily="18" charset="0"/>
                                                        </a:rPr>
                                                        <m:t>𝐴</m:t>
                                                      </m:r>
                                                    </m:e>
                                                    <m:sub>
                                                      <m:r>
                                                        <a:rPr lang="de-DE" sz="1200" b="0" i="1" dirty="0" smtClean="0">
                                                          <a:latin typeface="Cambria Math" panose="02040503050406030204" pitchFamily="18" charset="0"/>
                                                        </a:rPr>
                                                        <m:t>𝑡</m:t>
                                                      </m:r>
                                                      <m:r>
                                                        <a:rPr lang="de-DE" sz="1200" b="0" i="1" dirty="0" smtClean="0">
                                                          <a:latin typeface="Cambria Math" panose="02040503050406030204" pitchFamily="18" charset="0"/>
                                                        </a:rPr>
                                                        <m:t>,1:</m:t>
                                                      </m:r>
                                                      <m:r>
                                                        <a:rPr lang="de-DE" sz="1200" b="0" i="1" dirty="0" smtClean="0">
                                                          <a:latin typeface="Cambria Math" panose="02040503050406030204" pitchFamily="18" charset="0"/>
                                                        </a:rPr>
                                                        <m:t>𝑚</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m:rPr>
                                                      <m:nor/>
                                                    </m:rPr>
                                                    <a:rPr lang="en-US" sz="1200" i="1" dirty="0">
                                                      <a:latin typeface="Cambria Math" panose="02040503050406030204" pitchFamily="18" charset="0"/>
                                                    </a:rPr>
                                                    <m:t>Assignment</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of</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sensor</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object</m:t>
                                                  </m:r>
                                                  <m:r>
                                                    <m:rPr>
                                                      <m:nor/>
                                                    </m:rPr>
                                                    <a:rPr lang="en-US" sz="1200" i="1" dirty="0">
                                                      <a:latin typeface="Cambria Math" panose="02040503050406030204" pitchFamily="18" charset="0"/>
                                                    </a:rPr>
                                                    <m:t> 1:</m:t>
                                                  </m:r>
                                                  <m:r>
                                                    <m:rPr>
                                                      <m:nor/>
                                                    </m:rPr>
                                                    <a:rPr lang="en-US" sz="1200" i="1" dirty="0">
                                                      <a:latin typeface="Cambria Math" panose="02040503050406030204" pitchFamily="18" charset="0"/>
                                                    </a:rPr>
                                                    <m:t>m</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to</m:t>
                                                  </m:r>
                                                </m:oMath>
                                              </a14:m>
                                              <a:endParaRPr lang="de-DE" sz="1200" b="0" i="1" dirty="0">
                                                <a:latin typeface="Cambria Math" panose="02040503050406030204" pitchFamily="18" charset="0"/>
                                              </a:endParaRPr>
                                            </a:p>
                                            <a:p>
                                              <a:r>
                                                <a:rPr lang="de-DE" sz="1200" dirty="0"/>
                                                <a:t>	</a:t>
                                              </a:r>
                                              <a:r>
                                                <a:rPr lang="en-US" sz="1200" dirty="0"/>
                                                <a:t> </a:t>
                                              </a:r>
                                              <a14:m>
                                                <m:oMath xmlns:m="http://schemas.openxmlformats.org/officeDocument/2006/math">
                                                  <m:r>
                                                    <a:rPr lang="de-DE" sz="1200" b="0" i="0" dirty="0" smtClean="0">
                                                      <a:latin typeface="Cambria Math" panose="02040503050406030204" pitchFamily="18" charset="0"/>
                                                    </a:rPr>
                                                    <m:t>    </m:t>
                                                  </m:r>
                                                  <m:r>
                                                    <a:rPr lang="de-DE" sz="1200" b="0" i="1" dirty="0" smtClean="0">
                                                      <a:latin typeface="Cambria Math" panose="02040503050406030204" pitchFamily="18" charset="0"/>
                                                    </a:rPr>
                                                    <m:t>𝑛</m:t>
                                                  </m:r>
                                                  <m:r>
                                                    <a:rPr lang="de-DE" sz="1200" i="1" dirty="0">
                                                      <a:latin typeface="Cambria Math" panose="02040503050406030204" pitchFamily="18" charset="0"/>
                                                    </a:rPr>
                                                    <m:t>𝑒𝑡𝑤𝑜𝑟𝑘</m:t>
                                                  </m:r>
                                                  <m:r>
                                                    <a:rPr lang="de-DE" sz="1200" i="1" dirty="0">
                                                      <a:latin typeface="Cambria Math" panose="02040503050406030204" pitchFamily="18" charset="0"/>
                                                    </a:rPr>
                                                    <m:t> </m:t>
                                                  </m:r>
                                                  <m:r>
                                                    <a:rPr lang="de-DE" sz="1200" b="0" i="1" dirty="0" smtClean="0">
                                                      <a:latin typeface="Cambria Math" panose="02040503050406030204" pitchFamily="18" charset="0"/>
                                                    </a:rPr>
                                                    <m:t>𝑝</m:t>
                                                  </m:r>
                                                  <m:r>
                                                    <a:rPr lang="de-DE" sz="1200" i="1" dirty="0">
                                                      <a:latin typeface="Cambria Math" panose="02040503050406030204" pitchFamily="18" charset="0"/>
                                                    </a:rPr>
                                                    <m:t>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r>
                                                    <a:rPr lang="de-DE" sz="1200" i="1" dirty="0">
                                                      <a:latin typeface="Cambria Math" panose="02040503050406030204" pitchFamily="18" charset="0"/>
                                                    </a:rPr>
                                                    <m:t> </m:t>
                                                  </m:r>
                                                </m:oMath>
                                              </a14:m>
                                              <a:r>
                                                <a:rPr lang="de-DE" sz="1200" dirty="0"/>
                                                <a:t>	</a:t>
                                              </a:r>
                                              <a:endParaRPr lang="en-US" sz="1200" i="1" dirty="0">
                                                <a:latin typeface="Cambria Math" panose="02040503050406030204" pitchFamily="18" charset="0"/>
                                              </a:endParaRPr>
                                            </a:p>
                                            <a:p>
                                              <a14:m>
                                                <m:oMath xmlns:m="http://schemas.openxmlformats.org/officeDocument/2006/math">
                                                  <m:sSub>
                                                    <m:sSubPr>
                                                      <m:ctrlPr>
                                                        <a:rPr lang="de-DE" sz="1200" i="1" dirty="0">
                                                          <a:latin typeface="Cambria Math" panose="02040503050406030204" pitchFamily="18" charset="0"/>
                                                        </a:rPr>
                                                      </m:ctrlPr>
                                                    </m:sSubPr>
                                                    <m:e>
                                                      <m:sSup>
                                                        <m:sSupPr>
                                                          <m:ctrlPr>
                                                            <a:rPr lang="de-DE" sz="1200" i="1" dirty="0">
                                                              <a:latin typeface="Cambria Math" panose="02040503050406030204" pitchFamily="18" charset="0"/>
                                                            </a:rPr>
                                                          </m:ctrlPr>
                                                        </m:sSupPr>
                                                        <m:e>
                                                          <m:r>
                                                            <a:rPr lang="de-DE" sz="1200" i="1" dirty="0">
                                                              <a:latin typeface="Cambria Math" panose="02040503050406030204" pitchFamily="18" charset="0"/>
                                                            </a:rPr>
                                                            <m:t>𝑇</m:t>
                                                          </m:r>
                                                        </m:e>
                                                        <m:sup>
                                                          <m:r>
                                                            <a:rPr lang="de-DE" sz="1200" i="1" dirty="0">
                                                              <a:latin typeface="Cambria Math" panose="02040503050406030204" pitchFamily="18" charset="0"/>
                                                            </a:rPr>
                                                            <m:t>𝑢</m:t>
                                                          </m:r>
                                                        </m:sup>
                                                      </m:sSup>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𝑈𝑝𝑑𝑎𝑡𝑒𝑑</m:t>
                                                  </m:r>
                                                  <m:r>
                                                    <a:rPr lang="de-DE" sz="1200" i="1" dirty="0">
                                                      <a:latin typeface="Cambria Math" panose="02040503050406030204" pitchFamily="18" charset="0"/>
                                                    </a:rPr>
                                                    <m:t> </m:t>
                                                  </m:r>
                                                  <m:r>
                                                    <a:rPr lang="de-DE" sz="1200" b="0" i="1" dirty="0" smtClean="0">
                                                      <a:latin typeface="Cambria Math" panose="02040503050406030204" pitchFamily="18" charset="0"/>
                                                    </a:rPr>
                                                    <m:t>𝑡</m:t>
                                                  </m:r>
                                                  <m:r>
                                                    <a:rPr lang="de-DE" sz="1200" i="1" dirty="0">
                                                      <a:latin typeface="Cambria Math" panose="02040503050406030204" pitchFamily="18" charset="0"/>
                                                    </a:rPr>
                                                    <m:t>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dirty="0"/>
                                            </a:p>
                                            <a:p>
                                              <a14:m>
                                                <m:oMath xmlns:m="http://schemas.openxmlformats.org/officeDocument/2006/math">
                                                  <m:sSub>
                                                    <m:sSubPr>
                                                      <m:ctrlPr>
                                                        <a:rPr lang="de-DE" sz="1200" i="1" dirty="0">
                                                          <a:latin typeface="Cambria Math" panose="02040503050406030204" pitchFamily="18" charset="0"/>
                                                        </a:rPr>
                                                      </m:ctrlPr>
                                                    </m:sSubPr>
                                                    <m:e>
                                                      <m:sSup>
                                                        <m:sSupPr>
                                                          <m:ctrlPr>
                                                            <a:rPr lang="de-DE" sz="1200" i="1" dirty="0">
                                                              <a:latin typeface="Cambria Math" panose="02040503050406030204" pitchFamily="18" charset="0"/>
                                                            </a:rPr>
                                                          </m:ctrlPr>
                                                        </m:sSupPr>
                                                        <m:e>
                                                          <m:r>
                                                            <a:rPr lang="de-DE" sz="1200" i="1" dirty="0">
                                                              <a:latin typeface="Cambria Math" panose="02040503050406030204" pitchFamily="18" charset="0"/>
                                                            </a:rPr>
                                                            <m:t>𝑇</m:t>
                                                          </m:r>
                                                        </m:e>
                                                        <m:sup>
                                                          <m:r>
                                                            <a:rPr lang="de-DE" sz="1200" b="0" i="1" dirty="0" smtClean="0">
                                                              <a:latin typeface="Cambria Math" panose="02040503050406030204" pitchFamily="18" charset="0"/>
                                                            </a:rPr>
                                                            <m:t>𝑐</m:t>
                                                          </m:r>
                                                        </m:sup>
                                                      </m:sSup>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en-US" sz="120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𝐶𝑜𝑛𝑓𝑖𝑟𝑚𝑒𝑑</m:t>
                                                  </m:r>
                                                  <m:r>
                                                    <a:rPr lang="de-DE" sz="1200" i="1" dirty="0">
                                                      <a:latin typeface="Cambria Math" panose="02040503050406030204" pitchFamily="18" charset="0"/>
                                                    </a:rPr>
                                                    <m:t> </m:t>
                                                  </m:r>
                                                  <m:r>
                                                    <a:rPr lang="de-DE" sz="1200" b="0" i="1" dirty="0" smtClean="0">
                                                      <a:latin typeface="Cambria Math" panose="02040503050406030204" pitchFamily="18" charset="0"/>
                                                    </a:rPr>
                                                    <m:t>𝑡</m:t>
                                                  </m:r>
                                                  <m:r>
                                                    <a:rPr lang="de-DE" sz="1200" i="1" dirty="0">
                                                      <a:latin typeface="Cambria Math" panose="02040503050406030204" pitchFamily="18" charset="0"/>
                                                    </a:rPr>
                                                    <m:t>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sz="1200" b="0" i="1" dirty="0" smtClean="0">
                                                        <a:latin typeface="Cambria Math" panose="02040503050406030204" pitchFamily="18" charset="0"/>
                                                      </a:rPr>
                                                      <m:t>𝑛</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h</m:t>
                                                    </m:r>
                                                    <m:r>
                                                      <m:rPr>
                                                        <m:nor/>
                                                      </m:rPr>
                                                      <a:rPr lang="en-US" sz="1200" i="1" dirty="0">
                                                        <a:latin typeface="Cambria Math" panose="02040503050406030204" pitchFamily="18" charset="0"/>
                                                      </a:rPr>
                                                      <m:t>idden</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state</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vectors</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for</m:t>
                                                    </m:r>
                                                    <m:r>
                                                      <m:rPr>
                                                        <m:nor/>
                                                      </m:rPr>
                                                      <a:rPr lang="en-US" sz="1200" i="1" dirty="0">
                                                        <a:latin typeface="Cambria Math" panose="02040503050406030204" pitchFamily="18" charset="0"/>
                                                      </a:rPr>
                                                      <m:t>  </m:t>
                                                    </m:r>
                                                    <m:r>
                                                      <a:rPr lang="de-DE" sz="1200" i="1" dirty="0">
                                                        <a:latin typeface="Cambria Math" panose="02040503050406030204" pitchFamily="18" charset="0"/>
                                                      </a:rPr>
                                                      <m:t>𝑛</m:t>
                                                    </m:r>
                                                    <m:r>
                                                      <a:rPr lang="de-DE" sz="1200" i="1" dirty="0">
                                                        <a:latin typeface="Cambria Math" panose="02040503050406030204" pitchFamily="18" charset="0"/>
                                                      </a:rPr>
                                                      <m:t> </m:t>
                                                    </m:r>
                                                    <m:r>
                                                      <m:rPr>
                                                        <m:nor/>
                                                      </m:rPr>
                                                      <a:rPr lang="en-US" sz="1200" i="1" dirty="0">
                                                        <a:latin typeface="Cambria Math" panose="02040503050406030204" pitchFamily="18" charset="0"/>
                                                      </a:rPr>
                                                      <m:t>confirmed</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tracks</m:t>
                                                    </m:r>
                                                    <m:r>
                                                      <m:rPr>
                                                        <m:nor/>
                                                      </m:rPr>
                                                      <a:rPr lang="de-DE" sz="1200" b="0" i="1" dirty="0" smtClean="0">
                                                        <a:latin typeface="Cambria Math" panose="02040503050406030204" pitchFamily="18" charset="0"/>
                                                      </a:rPr>
                                                      <m:t> </m:t>
                                                    </m:r>
                                                  </m:oMath>
                                                </m:oMathPara>
                                              </a14:m>
                                              <a:endParaRPr lang="en-US" sz="1200" i="1" dirty="0">
                                                <a:latin typeface="Cambria Math" panose="02040503050406030204" pitchFamily="18" charset="0"/>
                                              </a:endParaRPr>
                                            </a:p>
                                          </p:txBody>
                                        </p:sp>
                                      </mc:Choice>
                                      <mc:Fallback>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3293621" y="4815630"/>
                                              <a:ext cx="3980214" cy="161069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sSup>
                                                          <m:sSupPr>
                                                            <m:ctrlPr>
                                                              <a:rPr lang="de-DE" i="1" dirty="0">
                                                                <a:latin typeface="Cambria Math" panose="02040503050406030204" pitchFamily="18" charset="0"/>
                                                              </a:rPr>
                                                            </m:ctrlPr>
                                                          </m:sSupPr>
                                                          <m:e>
                                                            <m:r>
                                                              <a:rPr lang="de-DE" i="1" dirty="0">
                                                                <a:latin typeface="Cambria Math" panose="02040503050406030204" pitchFamily="18" charset="0"/>
                                                              </a:rPr>
                                                              <m:t>𝑇</m:t>
                                                            </m:r>
                                                          </m:e>
                                                          <m:sup>
                                                            <m:r>
                                                              <a:rPr lang="de-DE" i="1" dirty="0">
                                                                <a:latin typeface="Cambria Math" panose="02040503050406030204" pitchFamily="18" charset="0"/>
                                                              </a:rPr>
                                                              <m:t>𝑐</m:t>
                                                            </m:r>
                                                          </m:sup>
                                                        </m:sSup>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m:oMathPara>
                                              </a14:m>
                                              <a:endParaRPr lang="de-DE" dirty="0"/>
                                            </a:p>
                                          </p:txBody>
                                        </p:sp>
                                      </mc:Choice>
                                      <mc:Fallback>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8000"/>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r>
                                                    <m:rPr>
                                                      <m:sty m:val="p"/>
                                                    </m:rPr>
                                                    <a:rPr lang="de-DE" sz="1200" b="0" i="0" kern="1200" dirty="0" smtClean="0">
                                                      <a:solidFill>
                                                        <a:prstClr val="white"/>
                                                      </a:solidFill>
                                                      <a:latin typeface="Cambria Math" panose="02040503050406030204" pitchFamily="18" charset="0"/>
                                                    </a:rPr>
                                                    <m:t>h</m:t>
                                                  </m:r>
                                                </m:oMath>
                                              </a14:m>
                                              <a:r>
                                                <a:rPr lang="en-US" sz="1200" kern="1200" dirty="0">
                                                  <a:solidFill>
                                                    <a:prstClr val="white"/>
                                                  </a:solidFill>
                                                  <a:latin typeface="Daimler CS" pitchFamily="2" charset="0"/>
                                                </a:rPr>
                                                <a:t>idden 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Association network</a:t>
                                          </a:r>
                                        </a:p>
                                      </p:txBody>
                                    </p:sp>
                                  </p:grpSp>
                                </p:grpSp>
                                <mc:AlternateContent xmlns:mc="http://schemas.openxmlformats.org/markup-compatibility/2006">
                                  <mc:Choice xmlns:a14="http://schemas.microsoft.com/office/drawing/2010/main" Requires="a14">
                                    <p:sp>
                                      <p:nvSpPr>
                                        <p:cNvPr id="158" name="Textfeld 157">
                                          <a:extLst>
                                            <a:ext uri="{FF2B5EF4-FFF2-40B4-BE49-F238E27FC236}">
                                              <a16:creationId xmlns:a16="http://schemas.microsoft.com/office/drawing/2014/main" id="{1C215A16-D26E-A8A8-24F7-FB974EF1D545}"/>
                                            </a:ext>
                                          </a:extLst>
                                        </p:cNvPr>
                                        <p:cNvSpPr txBox="1"/>
                                        <p:nvPr/>
                                      </p:nvSpPr>
                                      <p:spPr>
                                        <a:xfrm>
                                          <a:off x="7560523" y="70529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smtClean="0">
                                                            <a:latin typeface="Cambria Math" panose="02040503050406030204" pitchFamily="18" charset="0"/>
                                                          </a:rPr>
                                                        </m:ctrlPr>
                                                      </m:sSupPr>
                                                      <m:e>
                                                        <m:r>
                                                          <a:rPr lang="de-DE" i="1" dirty="0">
                                                            <a:latin typeface="Cambria Math" panose="02040503050406030204" pitchFamily="18" charset="0"/>
                                                          </a:rPr>
                                                          <m:t>𝑇</m:t>
                                                        </m:r>
                                                      </m:e>
                                                      <m:sup>
                                                        <m:r>
                                                          <a:rPr lang="de-DE" i="1" dirty="0">
                                                            <a:latin typeface="Cambria Math" panose="02040503050406030204" pitchFamily="18" charset="0"/>
                                                          </a:rPr>
                                                          <m:t>𝑐</m:t>
                                                        </m:r>
                                                      </m:sup>
                                                    </m:sSup>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560523" y="705296"/>
                                          <a:ext cx="301768" cy="317203"/>
                                        </a:xfrm>
                                        <a:prstGeom prst="rect">
                                          <a:avLst/>
                                        </a:prstGeom>
                                        <a:blipFill>
                                          <a:blip r:embed="rId8"/>
                                          <a:stretch>
                                            <a:fillRect r="-98000"/>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p:cNvCxnSpPr>
                          <p:nvPr/>
                        </p:nvCxnSpPr>
                        <p:spPr>
                          <a:xfrm rot="16200000" flipV="1">
                            <a:off x="752254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2"/>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mc:Choice xmlns:a14="http://schemas.microsoft.com/office/drawing/2010/main"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smtClean="0">
                                            <a:latin typeface="Cambria Math" panose="02040503050406030204" pitchFamily="18" charset="0"/>
                                          </a:rPr>
                                        </m:ctrlPr>
                                      </m:sSupPr>
                                      <m:e>
                                        <m:r>
                                          <a:rPr lang="de-DE" i="1" dirty="0">
                                            <a:latin typeface="Cambria Math" panose="02040503050406030204" pitchFamily="18" charset="0"/>
                                          </a:rPr>
                                          <m:t>𝑇</m:t>
                                        </m:r>
                                      </m:e>
                                      <m:sup>
                                        <m:r>
                                          <a:rPr lang="de-DE" b="0" i="1" dirty="0" smtClean="0">
                                            <a:latin typeface="Cambria Math" panose="02040503050406030204" pitchFamily="18" charset="0"/>
                                          </a:rPr>
                                          <m:t>𝑢</m:t>
                                        </m:r>
                                      </m:sup>
                                    </m:sSup>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3"/>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Confirmation</a:t>
                  </a:r>
                  <a:endParaRPr lang="de-DE" sz="16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6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98" name="Gruppieren 197">
            <a:extLst>
              <a:ext uri="{FF2B5EF4-FFF2-40B4-BE49-F238E27FC236}">
                <a16:creationId xmlns:a16="http://schemas.microsoft.com/office/drawing/2014/main" id="{414F6250-4B0B-93E9-3530-0CDC1AF36E53}"/>
              </a:ext>
            </a:extLst>
          </p:cNvPr>
          <p:cNvGrpSpPr/>
          <p:nvPr/>
        </p:nvGrpSpPr>
        <p:grpSpPr>
          <a:xfrm>
            <a:off x="667760" y="408890"/>
            <a:ext cx="4384398" cy="4583171"/>
            <a:chOff x="1463952" y="170065"/>
            <a:chExt cx="4384398" cy="4583171"/>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170065"/>
              <a:ext cx="4384398" cy="4583171"/>
              <a:chOff x="3464202" y="23082"/>
              <a:chExt cx="4384398" cy="4583171"/>
            </a:xfrm>
          </p:grpSpPr>
          <p:sp>
            <p:nvSpPr>
              <p:cNvPr id="19" name="Rechteck 18">
                <a:extLst>
                  <a:ext uri="{FF2B5EF4-FFF2-40B4-BE49-F238E27FC236}">
                    <a16:creationId xmlns:a16="http://schemas.microsoft.com/office/drawing/2014/main" id="{EECCDEF0-5E45-804D-745D-F949B80BEC5E}"/>
                  </a:ext>
                </a:extLst>
              </p:cNvPr>
              <p:cNvSpPr/>
              <p:nvPr/>
            </p:nvSpPr>
            <p:spPr>
              <a:xfrm>
                <a:off x="3464202" y="23082"/>
                <a:ext cx="4384398" cy="458317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100"/>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79592" y="38323"/>
                <a:ext cx="4369008" cy="4567930"/>
                <a:chOff x="3498642" y="215134"/>
                <a:chExt cx="4369008" cy="4567930"/>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215134"/>
                  <a:ext cx="3938865" cy="4567930"/>
                  <a:chOff x="1767476" y="2026534"/>
                  <a:chExt cx="3938865" cy="4567930"/>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335669"/>
                    <a:chOff x="1767476" y="2258795"/>
                    <a:chExt cx="3938865" cy="4335669"/>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32854"/>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2653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7274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115365"/>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00281"/>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46142"/>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grpSp>
        <p:nvGrpSpPr>
          <p:cNvPr id="1177" name="Gruppieren 1176">
            <a:extLst>
              <a:ext uri="{FF2B5EF4-FFF2-40B4-BE49-F238E27FC236}">
                <a16:creationId xmlns:a16="http://schemas.microsoft.com/office/drawing/2014/main" id="{5E90C157-B9F6-DB7E-ED63-5A086641F5B5}"/>
              </a:ext>
            </a:extLst>
          </p:cNvPr>
          <p:cNvGrpSpPr/>
          <p:nvPr/>
        </p:nvGrpSpPr>
        <p:grpSpPr>
          <a:xfrm>
            <a:off x="1935717" y="967904"/>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69661"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930384374"/>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1557526" y="1030550"/>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5799066" y="1083881"/>
                  <a:ext cx="1541822"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State vector with 5 states 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5751871" y="3958057"/>
                  <a:ext cx="1589018"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State vector with 5 state predictions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a:latin typeface="Cambria Math" panose="02040503050406030204" pitchFamily="18" charset="0"/>
                                    </a:rPr>
                                  </m:ctrlPr>
                                </m:sSupPr>
                                <m:e>
                                  <m:r>
                                    <a:rPr lang="de-DE" i="1" dirty="0">
                                      <a:latin typeface="Cambria Math" panose="02040503050406030204" pitchFamily="18" charset="0"/>
                                    </a:rPr>
                                    <m:t>𝑇</m:t>
                                  </m:r>
                                </m:e>
                                <m:sup>
                                  <m:r>
                                    <a:rPr lang="de-DE" b="0" i="1" dirty="0" smtClean="0">
                                      <a:latin typeface="Cambria Math" panose="02040503050406030204" pitchFamily="18" charset="0"/>
                                    </a:rPr>
                                    <m:t>𝑐</m:t>
                                  </m:r>
                                </m:sup>
                              </m:sSup>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m:oMathPara>
                    </a14:m>
                    <a:endParaRPr lang="de-DE" dirty="0"/>
                  </a:p>
                </p:txBody>
              </p:sp>
            </mc:Choice>
            <mc:Fallback>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8000"/>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5861</Words>
  <Application>Microsoft Office PowerPoint</Application>
  <PresentationFormat>Widescreen</PresentationFormat>
  <Paragraphs>1084</Paragraphs>
  <Slides>49</Slides>
  <Notes>41</Notes>
  <HiddenSlides>13</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60" baseType="lpstr">
      <vt:lpstr>Arial</vt:lpstr>
      <vt:lpstr>Calibri</vt:lpstr>
      <vt:lpstr>Cambria Math</vt:lpstr>
      <vt:lpstr>Daimler CS</vt:lpstr>
      <vt:lpstr>Lucida Grande</vt:lpstr>
      <vt:lpstr>Menlo</vt:lpstr>
      <vt:lpstr>Söhne</vt:lpstr>
      <vt:lpstr>Wingdings</vt:lpstr>
      <vt:lpstr>TTS Theme 2022 - Light</vt:lpstr>
      <vt:lpstr>think-cell Slide</vt:lpstr>
      <vt:lpstr>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 Pre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29</cp:revision>
  <dcterms:created xsi:type="dcterms:W3CDTF">2022-02-05T01:08:08Z</dcterms:created>
  <dcterms:modified xsi:type="dcterms:W3CDTF">2024-10-23T13:1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